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1"/>
    <p:sldMasterId id="2147483676" r:id="rId2"/>
  </p:sldMasterIdLst>
  <p:notesMasterIdLst>
    <p:notesMasterId r:id="rId10"/>
  </p:notesMasterIdLst>
  <p:handoutMasterIdLst>
    <p:handoutMasterId r:id="rId11"/>
  </p:handoutMasterIdLst>
  <p:sldIdLst>
    <p:sldId id="256" r:id="rId3"/>
    <p:sldId id="293" r:id="rId4"/>
    <p:sldId id="294" r:id="rId5"/>
    <p:sldId id="291" r:id="rId6"/>
    <p:sldId id="295" r:id="rId7"/>
    <p:sldId id="297" r:id="rId8"/>
    <p:sldId id="286" r:id="rId9"/>
  </p:sldIdLst>
  <p:sldSz cx="9144000" cy="6858000" type="screen4x3"/>
  <p:notesSz cx="6858000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ljko Lazovic" initials="Z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3" autoAdjust="0"/>
    <p:restoredTop sz="94434" autoAdjust="0"/>
  </p:normalViewPr>
  <p:slideViewPr>
    <p:cSldViewPr>
      <p:cViewPr varScale="1">
        <p:scale>
          <a:sx n="106" d="100"/>
          <a:sy n="106" d="100"/>
        </p:scale>
        <p:origin x="-1680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3" d="100"/>
          <a:sy n="63" d="100"/>
        </p:scale>
        <p:origin x="-2010" y="-108"/>
      </p:cViewPr>
      <p:guideLst>
        <p:guide orient="horz" pos="3127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E74591-EE21-4A5B-925A-C4F117EFA9A6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1A9A4E-C6EC-4FAA-92BB-AB74CEA07D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542636"/>
      </p:ext>
    </p:extLst>
  </p:cSld>
  <p:clrMap bg1="lt1" tx1="dk1" bg2="lt2" tx2="dk2" accent1="accent1" accent2="accent2" accent3="accent3" accent4="accent4" accent5="accent5" accent6="accent6" hlink="hlink" folHlink="folHlink"/>
  <p:hf sldNum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5769D-8120-4EA2-9201-FA8E4B087787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E8E665-D4E9-4817-ADA8-E41F992757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80899"/>
      </p:ext>
    </p:extLst>
  </p:cSld>
  <p:clrMap bg1="lt1" tx1="dk1" bg2="lt2" tx2="dk2" accent1="accent1" accent2="accent2" accent3="accent3" accent4="accent4" accent5="accent5" accent6="accent6" hlink="hlink" folHlink="folHlink"/>
  <p:hf sldNum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47738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0584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810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traight Connector 5"/>
          <p:cNvSpPr>
            <a:spLocks noChangeShapeType="1"/>
          </p:cNvSpPr>
          <p:nvPr userDrawn="1"/>
        </p:nvSpPr>
        <p:spPr bwMode="auto">
          <a:xfrm>
            <a:off x="514349" y="3883827"/>
            <a:ext cx="8629651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>
              <a:defRPr/>
            </a:pPr>
            <a:endParaRPr lang="en-US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52400" cy="914400"/>
          </a:xfrm>
          <a:prstGeom prst="rect">
            <a:avLst/>
          </a:prstGeom>
          <a:solidFill>
            <a:srgbClr val="CC0000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914400"/>
            <a:ext cx="152400" cy="59436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>
          <a:xfrm>
            <a:off x="304800" y="228600"/>
            <a:ext cx="5029200" cy="38100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x-none" sz="1600" dirty="0" smtClean="0">
                <a:solidFill>
                  <a:srgbClr val="1F497D"/>
                </a:solidFill>
                <a:latin typeface="Arial" charset="0"/>
                <a:cs typeface="Arial" charset="0"/>
              </a:rPr>
              <a:t>Јавно предузеће „Електропривреда Србије“</a:t>
            </a:r>
            <a:endParaRPr lang="en-US" sz="1600" dirty="0">
              <a:solidFill>
                <a:srgbClr val="1F497D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32" descr="znak-EPS_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3900" y="228608"/>
            <a:ext cx="609600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20896"/>
            <a:ext cx="7772400" cy="1254001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077072"/>
            <a:ext cx="64008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5264549" y="5610696"/>
            <a:ext cx="3384155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1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9320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484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93520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6632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081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9800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Osnovni slajd_poverljiv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76" y="1592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6" y="1592"/>
                        <a:ext cx="146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31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defRPr/>
            </a:pPr>
            <a:r>
              <a:rPr lang="sr-Cyrl-RS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ЈЕКАТ</a:t>
            </a:r>
            <a:r>
              <a:rPr lang="sr-Latn-RS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altLang="en-U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ГРАДЊЕ </a:t>
            </a:r>
          </a:p>
          <a:p>
            <a:pPr algn="ctr" eaLnBrk="1" hangingPunct="1">
              <a:spcBef>
                <a:spcPct val="20000"/>
              </a:spcBef>
              <a:buClr>
                <a:schemeClr val="accent1"/>
              </a:buClr>
              <a:defRPr/>
            </a:pPr>
            <a:r>
              <a:rPr lang="sr-Cyrl-RS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 блока ТЕ Костолац Б3 снаге 350 MW</a:t>
            </a:r>
            <a:endParaRPr lang="sr-Latn-RS" altLang="en-US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8604741" y="6448434"/>
            <a:ext cx="46892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492FD9B2-1164-4013-9925-E8A2EA7645B6}" type="slidenum">
              <a:rPr lang="en-US" altLang="en-US" sz="1200" b="1" smtClean="0">
                <a:solidFill>
                  <a:srgbClr val="003296"/>
                </a:solidFill>
              </a:rPr>
              <a:pPr algn="ctr" eaLnBrk="1" hangingPunct="1">
                <a:defRPr/>
              </a:pPr>
              <a:t>‹#›</a:t>
            </a:fld>
            <a:endParaRPr lang="en-US" altLang="en-US" sz="1200" b="1" dirty="0" smtClean="0">
              <a:solidFill>
                <a:srgbClr val="003296"/>
              </a:solidFill>
            </a:endParaRPr>
          </a:p>
        </p:txBody>
      </p:sp>
      <p:pic>
        <p:nvPicPr>
          <p:cNvPr id="12" name="Picture 8" descr="znak-EPS_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7" y="6381759"/>
            <a:ext cx="33264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1364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3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18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978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01510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578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0896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874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8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r-Latn-RS" dirty="0" smtClean="0"/>
              <a:t>Click to edit Master text styles</a:t>
            </a:r>
          </a:p>
          <a:p>
            <a:pPr lvl="1"/>
            <a:r>
              <a:rPr lang="en-US" altLang="sr-Latn-RS" dirty="0" smtClean="0"/>
              <a:t>Second level</a:t>
            </a:r>
          </a:p>
          <a:p>
            <a:pPr lvl="2"/>
            <a:r>
              <a:rPr lang="en-US" altLang="sr-Latn-RS" dirty="0" smtClean="0"/>
              <a:t>Third level</a:t>
            </a:r>
          </a:p>
          <a:p>
            <a:pPr lvl="3"/>
            <a:r>
              <a:rPr lang="en-US" altLang="sr-Latn-RS" dirty="0" smtClean="0"/>
              <a:t>Fourth level</a:t>
            </a:r>
          </a:p>
          <a:p>
            <a:pPr lvl="4"/>
            <a:r>
              <a:rPr lang="en-US" altLang="sr-Latn-R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5626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F46E44-CBE1-4A1D-B5BE-6F95D707BEE1}" type="datetimeFigureOut">
              <a:rPr lang="en-US" smtClean="0"/>
              <a:t>9/5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99CBC8-B17B-439D-832E-E3705645C6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257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r-Cyrl-RS" sz="2400" dirty="0" smtClean="0"/>
              <a:t> </a:t>
            </a:r>
            <a:r>
              <a:rPr lang="en-GB" sz="2400" dirty="0"/>
              <a:t>	</a:t>
            </a:r>
            <a:br>
              <a:rPr lang="en-GB" sz="2400" dirty="0"/>
            </a:br>
            <a:r>
              <a:rPr lang="sr-Cyrl-RS" sz="2400" dirty="0" smtClean="0"/>
              <a:t>„</a:t>
            </a:r>
            <a:r>
              <a:rPr lang="ro-RO" sz="2400" dirty="0"/>
              <a:t> A doua </a:t>
            </a:r>
            <a:r>
              <a:rPr lang="ro-RO" sz="2400" dirty="0" smtClean="0"/>
              <a:t>faza </a:t>
            </a:r>
            <a:r>
              <a:rPr lang="ro-RO" sz="2400" dirty="0"/>
              <a:t>a pachetului de proiecte Kostolac B "- </a:t>
            </a:r>
            <a:r>
              <a:rPr lang="en-US" sz="2400" dirty="0" err="1" smtClean="0"/>
              <a:t>blocul</a:t>
            </a:r>
            <a:r>
              <a:rPr lang="en-US" sz="2400" dirty="0" smtClean="0"/>
              <a:t> </a:t>
            </a:r>
            <a:r>
              <a:rPr lang="en-US" sz="2400" dirty="0" err="1" smtClean="0"/>
              <a:t>nou</a:t>
            </a:r>
            <a:r>
              <a:rPr lang="en-US" sz="2400" dirty="0" smtClean="0"/>
              <a:t> </a:t>
            </a:r>
            <a:r>
              <a:rPr lang="ro-RO" sz="2400" dirty="0" smtClean="0"/>
              <a:t>Kostolac B3</a:t>
            </a:r>
            <a:endParaRPr lang="en-US" sz="24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r-Latn-RS" altLang="sr-Latn-RS" dirty="0" smtClean="0">
                <a:solidFill>
                  <a:srgbClr val="002060"/>
                </a:solidFill>
              </a:rPr>
              <a:t>Oravita, Romania </a:t>
            </a:r>
            <a:r>
              <a:rPr lang="sr-Cyrl-RS" altLang="sr-Latn-RS" dirty="0" smtClean="0">
                <a:solidFill>
                  <a:srgbClr val="002060"/>
                </a:solidFill>
              </a:rPr>
              <a:t> </a:t>
            </a:r>
            <a:r>
              <a:rPr lang="sr-Latn-RS" altLang="sr-Latn-RS" dirty="0" smtClean="0">
                <a:solidFill>
                  <a:srgbClr val="002060"/>
                </a:solidFill>
              </a:rPr>
              <a:t>31</a:t>
            </a:r>
            <a:r>
              <a:rPr lang="sr-Latn-RS" dirty="0" smtClean="0">
                <a:solidFill>
                  <a:srgbClr val="002060"/>
                </a:solidFill>
              </a:rPr>
              <a:t>.08.2017 </a:t>
            </a:r>
            <a:endParaRPr lang="en-US" altLang="sr-Latn-RS" dirty="0">
              <a:solidFill>
                <a:srgbClr val="002060"/>
              </a:solidFill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04800" y="604228"/>
            <a:ext cx="5486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b="1" dirty="0" smtClean="0">
                <a:solidFill>
                  <a:schemeClr val="tx2"/>
                </a:solidFill>
              </a:rPr>
              <a:t>Intreprinderea publica „Elektroprivreda Srbije“</a:t>
            </a:r>
            <a:endParaRPr lang="sr-Latn-RS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310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00"/>
            <a:ext cx="9144000" cy="5943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228600" y="1295400"/>
            <a:ext cx="8382000" cy="38595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1000" indent="-381000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prins</a:t>
            </a:r>
            <a:r>
              <a:rPr lang="sr-Cyrl-C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GB" altLang="en-US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81000" indent="-381000">
              <a:lnSpc>
                <a:spcPct val="80000"/>
              </a:lnSpc>
              <a:tabLst>
                <a:tab pos="182563" algn="l"/>
                <a:tab pos="447675" algn="l"/>
              </a:tabLst>
            </a:pPr>
            <a:endParaRPr lang="en-GB" altLang="en-US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i</a:t>
            </a:r>
            <a:r>
              <a:rPr lang="en-U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nerale</a:t>
            </a:r>
            <a:endParaRPr lang="sr-Latn-RS" altLang="en-US" b="1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crierea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ului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1.2 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ant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1.3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mul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ca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1.4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area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iectului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1.5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ul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tare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1.6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acteristici</a:t>
            </a:r>
            <a:r>
              <a:rPr lang="sr-Latn-R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hnice</a:t>
            </a:r>
            <a:r>
              <a:rPr lang="en-US" altLang="en-US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za</a:t>
            </a: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endParaRPr lang="sr-Latn-R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r>
              <a:rPr lang="sr-Latn-R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vitatile</a:t>
            </a:r>
            <a:r>
              <a:rPr lang="en-U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erioare</a:t>
            </a:r>
            <a:r>
              <a:rPr lang="en-U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ind</a:t>
            </a:r>
            <a:r>
              <a:rPr lang="en-US" altLang="en-US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b="1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ractarea</a:t>
            </a:r>
            <a:endParaRPr lang="sr-Cyrl-CS" altLang="en-US" dirty="0" smtClean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endParaRPr lang="sr-Cyrl-C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endParaRPr lang="en-GB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06438" lvl="2" indent="-342900">
              <a:lnSpc>
                <a:spcPct val="80000"/>
              </a:lnSpc>
              <a:buAutoNum type="arabicPeriod" startAt="6"/>
              <a:tabLst>
                <a:tab pos="182563" algn="l"/>
                <a:tab pos="447675" algn="l"/>
              </a:tabLst>
            </a:pPr>
            <a:endParaRPr lang="sr-Cyrl-CS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06438" lvl="2" indent="-342900">
              <a:lnSpc>
                <a:spcPct val="80000"/>
              </a:lnSpc>
              <a:buAutoNum type="arabicPeriod" startAt="6"/>
              <a:tabLst>
                <a:tab pos="182563" algn="l"/>
                <a:tab pos="447675" algn="l"/>
              </a:tabLst>
            </a:pPr>
            <a:endParaRPr lang="en-GB" alt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2" indent="-381000">
              <a:lnSpc>
                <a:spcPct val="80000"/>
              </a:lnSpc>
              <a:buFontTx/>
              <a:buAutoNum type="arabicPeriod"/>
              <a:tabLst>
                <a:tab pos="182563" algn="l"/>
                <a:tab pos="447675" algn="l"/>
              </a:tabLst>
            </a:pPr>
            <a:endParaRPr lang="en-GB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0638" lvl="2">
              <a:lnSpc>
                <a:spcPct val="80000"/>
              </a:lnSpc>
              <a:tabLst>
                <a:tab pos="182563" algn="l"/>
                <a:tab pos="447675" algn="l"/>
              </a:tabLst>
            </a:pPr>
            <a:endParaRPr lang="sr-Cyrl-C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  <a:endParaRPr lang="sr-Latn-R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978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3822" y="1066800"/>
            <a:ext cx="8777785" cy="46782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en-US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formatii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enerale</a:t>
            </a:r>
            <a:endParaRPr lang="sr-Cyrl-R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+mj-lt"/>
              <a:buAutoNum type="arabicPeriod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1.1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scrierea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iectului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Blocul termoenergetic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E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Kostolac B3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lignit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e la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rier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supraf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K "Drmno" va avea o puter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lectric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e 350 MW,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ura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la terminalele generatorului,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imp ce puterea d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re 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epta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r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este de aproximativ 308 MW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ste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evazu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n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bloc cu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ficien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ridica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cu parametri de abur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up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ritic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(254 bari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571 ° C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o-RO" sz="1400" dirty="0"/>
              <a:t>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sc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carea calduri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e la condensator est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ev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u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irculant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n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u.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locul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fi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gajat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in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drul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stemului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electric de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ergi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in Serbia (EES) in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arte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z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iagramei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rcin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o-RO" sz="1400" dirty="0"/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lasarea puterii blocului B3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 r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aua electric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in Serbia se va realiza prin intermediul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atiei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xistente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RP 400 kV,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are se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fl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ropiere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noului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loc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o-RO" sz="1400" dirty="0"/>
              <a:t>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nevoile consumului propriu al noului bloc est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ev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zut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un transformator de energie 110/6, 6 / 6,6 kV, care va fi de asemenea conectat la 110 kV RP existente.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Cyrl-RS" sz="1600" b="1" dirty="0">
                <a:latin typeface="Arial" panose="020B0604020202020204" pitchFamily="34" charset="0"/>
                <a:cs typeface="Arial" panose="020B0604020202020204" pitchFamily="34" charset="0"/>
              </a:rPr>
              <a:t>1.2 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xecutant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Cyrl-RS" sz="1400" b="1" dirty="0">
                <a:latin typeface="Arial" panose="020B0604020202020204" pitchFamily="34" charset="0"/>
                <a:cs typeface="Arial" panose="020B0604020202020204" pitchFamily="34" charset="0"/>
              </a:rPr>
              <a:t>CHINA MACHINERY ENGINEERING CORPORATION (CMEC), </a:t>
            </a:r>
            <a:r>
              <a:rPr lang="sr-Latn-R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aza</a:t>
            </a:r>
            <a:r>
              <a:rPr lang="sr-Cyrl-RS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nui Acord Contractual incheiat intre </a:t>
            </a:r>
            <a:r>
              <a:rPr lang="sr-Cyrl-R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JP EPS </a:t>
            </a:r>
            <a:r>
              <a:rPr lang="sr-Latn-R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sr-Cyrl-R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 CMEC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umar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1400" dirty="0">
                <a:latin typeface="Arial" panose="020B0604020202020204" pitchFamily="34" charset="0"/>
                <a:cs typeface="Arial" panose="020B0604020202020204" pitchFamily="34" charset="0"/>
              </a:rPr>
              <a:t>127/26-13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n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1400" dirty="0">
                <a:latin typeface="Arial" panose="020B0604020202020204" pitchFamily="34" charset="0"/>
                <a:cs typeface="Arial" panose="020B0604020202020204" pitchFamily="34" charset="0"/>
              </a:rPr>
              <a:t>20.11.2013</a:t>
            </a:r>
            <a:r>
              <a:rPr lang="sr-Cyrl-RS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sr-Cyrl-RS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sr-Latn-RS" sz="16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sr-Cyrl-CS" sz="1600" b="1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sr-Latn-R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olumul de munc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locul termoenergetic de 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50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W</a:t>
            </a:r>
            <a:endParaRPr lang="sr-Latn-R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roiectul include proiectarea,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nstructia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, punerea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 functiune si garantiile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tregul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roiect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</a:p>
        </p:txBody>
      </p:sp>
    </p:spTree>
    <p:extLst>
      <p:ext uri="{BB962C8B-B14F-4D97-AF65-F5344CB8AC3E}">
        <p14:creationId xmlns:p14="http://schemas.microsoft.com/office/powerpoint/2010/main" val="2464589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28600" y="1143002"/>
            <a:ext cx="8686800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</a:pPr>
            <a:r>
              <a:rPr lang="sr-Cyrl-CS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1.4 </a:t>
            </a:r>
            <a:r>
              <a:rPr lang="sr-Latn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Valoarea proiectului</a:t>
            </a:r>
            <a:r>
              <a:rPr lang="sr-Cyrl-C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: </a:t>
            </a:r>
            <a:r>
              <a:rPr lang="sr-Cyrl-CS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715,6 </a:t>
            </a:r>
            <a:r>
              <a:rPr lang="sr-Cyrl-C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milio</a:t>
            </a:r>
            <a:r>
              <a:rPr lang="sr-Latn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ane de </a:t>
            </a:r>
            <a:r>
              <a:rPr lang="sr-Cyrl-C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$</a:t>
            </a:r>
            <a:endParaRPr lang="en-US" b="1" dirty="0" smtClean="0">
              <a:solidFill>
                <a:srgbClr val="000000"/>
              </a:solidFill>
              <a:latin typeface="Arial"/>
              <a:ea typeface="Times New Roman"/>
              <a:cs typeface="Times New Roman"/>
            </a:endParaRPr>
          </a:p>
          <a:p>
            <a:pPr>
              <a:lnSpc>
                <a:spcPct val="115000"/>
              </a:lnSpc>
            </a:pP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etul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otal al proiectului cu TVA este de 715.600.000,00 USD, din care 613.000.000,00 USD est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evazut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construirea blocului TEKO B3,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etul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resterea capacitati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minei este de 97.600.000,00 USD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5.000.000,00 USD este restul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ntru cheltuieli neprevazute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sr-Latn-RS" sz="1400" dirty="0" smtClean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endParaRPr lang="en-US" sz="14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sr-Cyrl-RS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1.5 </a:t>
            </a:r>
            <a:r>
              <a:rPr lang="sr-Latn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Finantare de catre </a:t>
            </a:r>
            <a:r>
              <a:rPr lang="sr-Cyrl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ban</a:t>
            </a:r>
            <a:r>
              <a:rPr lang="sr-Latn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ca </a:t>
            </a:r>
            <a:r>
              <a:rPr lang="sr-Cyrl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E</a:t>
            </a:r>
            <a:r>
              <a:rPr lang="en-US" b="1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X</a:t>
            </a:r>
            <a:r>
              <a:rPr lang="sr-Cyrl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IM – </a:t>
            </a:r>
            <a:r>
              <a:rPr lang="sr-Latn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Ch</a:t>
            </a:r>
            <a:r>
              <a:rPr lang="sr-Cyrl-RS" b="1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ina</a:t>
            </a:r>
            <a:endParaRPr lang="en-US" b="1" dirty="0" smtClean="0">
              <a:solidFill>
                <a:srgbClr val="000000"/>
              </a:solidFill>
              <a:latin typeface="Arial"/>
              <a:ea typeface="Times New Roman"/>
              <a:cs typeface="Times New Roman"/>
            </a:endParaRPr>
          </a:p>
          <a:p>
            <a:pPr>
              <a:lnSpc>
                <a:spcPct val="115000"/>
              </a:lnSpc>
            </a:pP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inantare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roiectului este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sigurata din creditul din banc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EXIM,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n urmatoarele conditii </a:t>
            </a:r>
            <a:endParaRPr lang="en-US" sz="1400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/>
              <a:buChar char="−"/>
              <a:tabLst>
                <a:tab pos="358775" algn="l"/>
                <a:tab pos="457200" algn="l"/>
              </a:tabLst>
            </a:pP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rioada de rambursare a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reditului</a:t>
            </a:r>
            <a:r>
              <a:rPr lang="sr-Cyrl-CS" sz="14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	</a:t>
            </a:r>
            <a:r>
              <a:rPr lang="sr-Cyrl-CS" sz="14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20 </a:t>
            </a:r>
            <a:r>
              <a:rPr lang="sr-Latn-RS" sz="14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de ani</a:t>
            </a:r>
            <a:r>
              <a:rPr lang="sr-Cyrl-CS" sz="14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</a:t>
            </a:r>
            <a:r>
              <a:rPr lang="sr-Cyrl-CS" sz="14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(7 + 13)</a:t>
            </a:r>
            <a:endParaRPr lang="en-US" sz="1400" dirty="0">
              <a:cs typeface="Times New Roman"/>
            </a:endParaRPr>
          </a:p>
          <a:p>
            <a:pPr marL="342900" marR="0" lvl="0" indent="-342900">
              <a:spcBef>
                <a:spcPts val="0"/>
              </a:spcBef>
              <a:spcAft>
                <a:spcPts val="0"/>
              </a:spcAft>
              <a:buFont typeface="Arial"/>
              <a:buChar char="−"/>
              <a:tabLst>
                <a:tab pos="358775" algn="l"/>
                <a:tab pos="457200" algn="l"/>
              </a:tabLst>
            </a:pPr>
            <a:r>
              <a:rPr lang="sr-Latn-RS" sz="14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Perioada de gratie</a:t>
            </a:r>
            <a:r>
              <a:rPr lang="sr-Cyrl-CS" sz="14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		</a:t>
            </a:r>
            <a:r>
              <a:rPr lang="sr-Latn-RS" sz="14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	</a:t>
            </a:r>
            <a:r>
              <a:rPr lang="sr-Cyrl-CS" sz="1400" dirty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7 </a:t>
            </a:r>
            <a:r>
              <a:rPr lang="sr-Latn-RS" sz="1400" dirty="0" smtClean="0">
                <a:solidFill>
                  <a:srgbClr val="000000"/>
                </a:solidFill>
                <a:latin typeface="Arial"/>
                <a:ea typeface="Times New Roman"/>
                <a:cs typeface="Times New Roman"/>
              </a:rPr>
              <a:t> ani</a:t>
            </a:r>
            <a:endParaRPr lang="en-US" sz="1400" dirty="0">
              <a:cs typeface="Times New Roman"/>
            </a:endParaRPr>
          </a:p>
          <a:p>
            <a:pPr>
              <a:lnSpc>
                <a:spcPct val="115000"/>
              </a:lnSpc>
            </a:pPr>
            <a:endParaRPr lang="en-US" sz="1400" dirty="0">
              <a:ea typeface="Calibri"/>
              <a:cs typeface="Times New Roman"/>
            </a:endParaRPr>
          </a:p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ermenul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limit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alizarea noulu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bloc</a:t>
            </a:r>
            <a:r>
              <a:rPr lang="ro-RO" sz="1400" dirty="0"/>
              <a:t> 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58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lun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sr-Cyrl-RS" sz="1400" dirty="0">
                <a:latin typeface="Arial" panose="020B0604020202020204" pitchFamily="34" charset="0"/>
                <a:cs typeface="Arial" panose="020B0604020202020204" pitchFamily="34" charset="0"/>
              </a:rPr>
              <a:t>+ 12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lun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ioada de garanti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Termen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limit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pentru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realizare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sistemului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TO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7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luni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Cyrl-RS" sz="1400" dirty="0">
                <a:latin typeface="Arial" panose="020B0604020202020204" pitchFamily="34" charset="0"/>
                <a:cs typeface="Arial" panose="020B0604020202020204" pitchFamily="34" charset="0"/>
              </a:rPr>
              <a:t>+ 24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luni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erioada de garantie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</a:p>
        </p:txBody>
      </p:sp>
    </p:spTree>
    <p:extLst>
      <p:ext uri="{BB962C8B-B14F-4D97-AF65-F5344CB8AC3E}">
        <p14:creationId xmlns:p14="http://schemas.microsoft.com/office/powerpoint/2010/main" val="3801896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4800" y="1012955"/>
            <a:ext cx="853440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endParaRPr lang="sr-Latn-R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r-Cyrl-CS" b="1" dirty="0"/>
              <a:t>1.6 </a:t>
            </a:r>
            <a:r>
              <a:rPr lang="sr-Latn-RS" b="1" dirty="0" smtClean="0">
                <a:latin typeface="Arial" panose="020B0604020202020204" pitchFamily="34" charset="0"/>
                <a:cs typeface="Arial" panose="020B0604020202020204" pitchFamily="34" charset="0"/>
              </a:rPr>
              <a:t>Caracteristicile tehnice de baza ale noului bloc </a:t>
            </a:r>
            <a:r>
              <a:rPr lang="sr-Cyrl-CS" b="1" dirty="0" smtClean="0">
                <a:latin typeface="Arial" panose="020B0604020202020204" pitchFamily="34" charset="0"/>
                <a:cs typeface="Arial" panose="020B0604020202020204" pitchFamily="34" charset="0"/>
              </a:rPr>
              <a:t>B3</a:t>
            </a: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Latn-R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locul este cu parametri supracritici</a:t>
            </a:r>
            <a:endParaRPr lang="en-U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uterea pe bornele al generatorului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50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W</a:t>
            </a:r>
          </a:p>
          <a:p>
            <a:pPr marL="282575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uterea de iesire pe retea este aproximativ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10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W</a:t>
            </a:r>
          </a:p>
          <a:p>
            <a:pPr marL="282575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arametri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e abur proaspat 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=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54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bar 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=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571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  <a:sym typeface="Symbol"/>
              </a:rPr>
              <a:t>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</a:p>
          <a:p>
            <a:pPr marL="282575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oductia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de abur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proaspat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la puterea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ominala este </a:t>
            </a:r>
            <a:r>
              <a:rPr lang="sr-Cyrl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971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</a:t>
            </a:r>
          </a:p>
          <a:p>
            <a:pPr marL="282575" indent="-169863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Latn-R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ndament al blocului</a:t>
            </a:r>
            <a:endParaRPr lang="sr-Cyrl-RS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Brut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		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42,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97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et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		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37,3%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o-RO" sz="1600" b="1" dirty="0">
                <a:latin typeface="Arial" panose="020B0604020202020204" pitchFamily="34" charset="0"/>
                <a:cs typeface="Arial" panose="020B0604020202020204" pitchFamily="34" charset="0"/>
              </a:rPr>
              <a:t>Emisiile de </a:t>
            </a:r>
            <a:r>
              <a:rPr lang="ro-RO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oluanti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sr-Latn-R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ioxid de sulf 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SO2)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50 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mg/Nm</a:t>
            </a:r>
            <a:r>
              <a:rPr lang="sr-Cyrl-RS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ompusi 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ai </a:t>
            </a:r>
            <a:r>
              <a:rPr lang="ro-R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azotului 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NOx)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mg/Nm</a:t>
            </a:r>
            <a:r>
              <a:rPr lang="sr-Cyrl-RS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1" indent="-169863"/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o-RO" sz="1400" dirty="0">
                <a:latin typeface="Arial" panose="020B0604020202020204" pitchFamily="34" charset="0"/>
                <a:cs typeface="Arial" panose="020B0604020202020204" pitchFamily="34" charset="0"/>
              </a:rPr>
              <a:t>Materii pulverulente</a:t>
            </a:r>
            <a:r>
              <a:rPr lang="sr-Cyrl-CS" sz="1400" dirty="0">
                <a:latin typeface="Arial" panose="020B0604020202020204" pitchFamily="34" charset="0"/>
                <a:cs typeface="Arial" panose="020B0604020202020204" pitchFamily="34" charset="0"/>
              </a:rPr>
              <a:t>	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sr-Cyrl-C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10   </a:t>
            </a:r>
            <a:r>
              <a:rPr lang="sr-Latn-RS" sz="1400" dirty="0">
                <a:latin typeface="Arial" panose="020B0604020202020204" pitchFamily="34" charset="0"/>
                <a:cs typeface="Arial" panose="020B0604020202020204" pitchFamily="34" charset="0"/>
              </a:rPr>
              <a:t>mg/Nm</a:t>
            </a:r>
            <a:r>
              <a:rPr lang="sr-Cyrl-RS" sz="1400" baseline="30000" dirty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solidFill>
                  <a:srgbClr val="FF0000"/>
                </a:solidFill>
              </a:rPr>
              <a:t> </a:t>
            </a:r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</a:p>
        </p:txBody>
      </p:sp>
    </p:spTree>
    <p:extLst>
      <p:ext uri="{BB962C8B-B14F-4D97-AF65-F5344CB8AC3E}">
        <p14:creationId xmlns:p14="http://schemas.microsoft.com/office/powerpoint/2010/main" val="376237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 txBox="1">
            <a:spLocks/>
          </p:cNvSpPr>
          <p:nvPr/>
        </p:nvSpPr>
        <p:spPr>
          <a:xfrm>
            <a:off x="228600" y="836619"/>
            <a:ext cx="8610600" cy="561657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sr-Cyrl-RS" altLang="en-US" b="1" dirty="0" smtClean="0"/>
              <a:t>2. </a:t>
            </a:r>
            <a:r>
              <a:rPr lang="ro-RO" b="1" dirty="0" smtClean="0"/>
              <a:t>Activitatile </a:t>
            </a:r>
            <a:r>
              <a:rPr lang="ro-RO" b="1" dirty="0"/>
              <a:t>anterioare privind contractarea</a:t>
            </a:r>
            <a:endParaRPr lang="sr-Latn-RS" altLang="en-US" b="1" dirty="0" smtClean="0"/>
          </a:p>
          <a:p>
            <a:pPr>
              <a:defRPr/>
            </a:pPr>
            <a:r>
              <a:rPr lang="sr-Latn-RS" altLang="en-US" sz="1400" b="1" dirty="0" smtClean="0"/>
              <a:t>Anul </a:t>
            </a:r>
            <a:r>
              <a:rPr lang="sr-Cyrl-RS" altLang="en-US" sz="1400" b="1" dirty="0" smtClean="0"/>
              <a:t>2009</a:t>
            </a:r>
            <a:endParaRPr lang="en-US" altLang="en-US" sz="1400" dirty="0" smtClean="0"/>
          </a:p>
          <a:p>
            <a:r>
              <a:rPr lang="sr-Cyrl-RS" altLang="en-US" sz="1400" dirty="0" smtClean="0"/>
              <a:t>21.08.2009 </a:t>
            </a:r>
            <a:r>
              <a:rPr lang="sr-Latn-RS" altLang="en-US" sz="1400" dirty="0" smtClean="0"/>
              <a:t>a fost semnat Acordul interguvernamental privind cooperarea economica si tehnica in domeniul infrastructurii intre Republica Serbia si Republica Populara Chineza </a:t>
            </a:r>
          </a:p>
          <a:p>
            <a:pPr marL="0" indent="0">
              <a:buNone/>
            </a:pPr>
            <a:endParaRPr lang="sr-Latn-RS" altLang="en-US" sz="1400" dirty="0" smtClean="0"/>
          </a:p>
          <a:p>
            <a:pPr>
              <a:defRPr/>
            </a:pPr>
            <a:r>
              <a:rPr lang="sr-Latn-RS" altLang="en-US" sz="1400" b="1" dirty="0" smtClean="0"/>
              <a:t>Anul </a:t>
            </a:r>
            <a:r>
              <a:rPr lang="sr-Cyrl-RS" altLang="en-US" sz="1400" b="1" dirty="0" smtClean="0"/>
              <a:t>2013</a:t>
            </a:r>
            <a:endParaRPr lang="en-US" altLang="en-US" sz="1400" dirty="0"/>
          </a:p>
          <a:p>
            <a:r>
              <a:rPr lang="sr-Cyrl-CS" altLang="en-US" sz="1400" dirty="0" smtClean="0"/>
              <a:t>20.11.2013</a:t>
            </a:r>
            <a:r>
              <a:rPr lang="sr-Latn-RS" altLang="en-US" sz="1400" dirty="0" smtClean="0"/>
              <a:t> </a:t>
            </a:r>
            <a:r>
              <a:rPr lang="sr-Cyrl-CS" sz="1400" dirty="0" smtClean="0"/>
              <a:t> </a:t>
            </a:r>
            <a:r>
              <a:rPr lang="ro-RO" sz="1400" dirty="0"/>
              <a:t>a fost semnat un acord special pentru faza a doua a pachetului de proiecte Kostolac B </a:t>
            </a:r>
            <a:r>
              <a:rPr lang="ro-RO" sz="1400" dirty="0" smtClean="0"/>
              <a:t>intre </a:t>
            </a:r>
            <a:r>
              <a:rPr lang="ro-RO" sz="1400" dirty="0"/>
              <a:t>CMEC </a:t>
            </a:r>
            <a:r>
              <a:rPr lang="ro-RO" sz="1400" dirty="0" smtClean="0"/>
              <a:t>si </a:t>
            </a:r>
            <a:r>
              <a:rPr lang="ro-RO" sz="1400" dirty="0"/>
              <a:t>JP EPS / PD TE-KO </a:t>
            </a:r>
            <a:r>
              <a:rPr lang="ro-RO" sz="1400" dirty="0" smtClean="0"/>
              <a:t>Kostolac </a:t>
            </a:r>
            <a:endParaRPr lang="sr-Latn-RS" sz="1400" dirty="0" smtClean="0"/>
          </a:p>
          <a:p>
            <a:pPr marL="0" indent="0">
              <a:buNone/>
            </a:pPr>
            <a:endParaRPr lang="en-US" sz="1400" dirty="0" smtClean="0"/>
          </a:p>
          <a:p>
            <a:pPr>
              <a:defRPr/>
            </a:pPr>
            <a:r>
              <a:rPr lang="sr-Latn-RS" altLang="en-US" sz="1400" b="1" dirty="0" smtClean="0"/>
              <a:t>Anul </a:t>
            </a:r>
            <a:r>
              <a:rPr lang="sr-Cyrl-RS" altLang="en-US" sz="1400" b="1" dirty="0" smtClean="0"/>
              <a:t>2014</a:t>
            </a:r>
            <a:endParaRPr lang="sr-Latn-RS" altLang="en-US" sz="1400" b="1" dirty="0" smtClean="0"/>
          </a:p>
          <a:p>
            <a:pPr>
              <a:defRPr/>
            </a:pPr>
            <a:r>
              <a:rPr lang="ro-RO" sz="1400" dirty="0" smtClean="0"/>
              <a:t>In </a:t>
            </a:r>
            <a:r>
              <a:rPr lang="ro-RO" sz="1400" dirty="0"/>
              <a:t>decembrie 2014, Guvernul Republicii Serbia a semnat un contract cu </a:t>
            </a:r>
            <a:r>
              <a:rPr lang="ro-RO" sz="1400" dirty="0" smtClean="0"/>
              <a:t>banca EXIM din </a:t>
            </a:r>
            <a:r>
              <a:rPr lang="ro-RO" sz="1400" dirty="0"/>
              <a:t>China pentru un </a:t>
            </a:r>
            <a:r>
              <a:rPr lang="ro-RO" sz="1400" dirty="0" smtClean="0"/>
              <a:t>imprumut in conditii preferentiale </a:t>
            </a:r>
            <a:r>
              <a:rPr lang="ro-RO" sz="1400" dirty="0"/>
              <a:t>pentru a doua </a:t>
            </a:r>
            <a:r>
              <a:rPr lang="ro-RO" sz="1400" dirty="0" smtClean="0"/>
              <a:t>faza </a:t>
            </a:r>
            <a:r>
              <a:rPr lang="ro-RO" sz="1400" dirty="0"/>
              <a:t>a pachetului de proiecte Kostolac </a:t>
            </a:r>
            <a:r>
              <a:rPr lang="ro-RO" sz="1400" dirty="0" smtClean="0"/>
              <a:t>B </a:t>
            </a:r>
          </a:p>
          <a:p>
            <a:pPr>
              <a:defRPr/>
            </a:pPr>
            <a:endParaRPr lang="sr-Latn-RS" altLang="en-US" sz="1400" b="1" dirty="0" smtClean="0"/>
          </a:p>
          <a:p>
            <a:pPr>
              <a:defRPr/>
            </a:pPr>
            <a:r>
              <a:rPr lang="sr-Latn-RS" altLang="en-US" sz="1400" b="1" dirty="0" smtClean="0"/>
              <a:t>Anul </a:t>
            </a:r>
            <a:r>
              <a:rPr lang="sr-Cyrl-RS" altLang="en-US" sz="1400" b="1" dirty="0" smtClean="0"/>
              <a:t>2015</a:t>
            </a:r>
            <a:endParaRPr lang="sr-Latn-RS" altLang="en-US" sz="1400" b="1" dirty="0" smtClean="0"/>
          </a:p>
          <a:p>
            <a:pPr>
              <a:defRPr/>
            </a:pPr>
            <a:r>
              <a:rPr lang="ro-RO" sz="1400" dirty="0" smtClean="0"/>
              <a:t>Contractul a intrat in vigoare 25.05.2015</a:t>
            </a:r>
          </a:p>
          <a:p>
            <a:pPr>
              <a:defRPr/>
            </a:pPr>
            <a:endParaRPr lang="sr-Latn-RS" altLang="en-US" sz="1400" b="1" dirty="0" smtClean="0"/>
          </a:p>
          <a:p>
            <a:pPr>
              <a:defRPr/>
            </a:pPr>
            <a:r>
              <a:rPr lang="sr-Latn-RS" sz="1400" b="1" dirty="0" smtClean="0"/>
              <a:t>Anul </a:t>
            </a:r>
            <a:r>
              <a:rPr lang="sr-Cyrl-RS" sz="1400" b="1" dirty="0" smtClean="0"/>
              <a:t>2016</a:t>
            </a:r>
            <a:endParaRPr lang="sr-Latn-RS" sz="1400" b="1" dirty="0" smtClean="0"/>
          </a:p>
          <a:p>
            <a:pPr>
              <a:defRPr/>
            </a:pPr>
            <a:r>
              <a:rPr lang="ro-RO" sz="1400" dirty="0" smtClean="0"/>
              <a:t>Inceperea realizarii proiectului 04.01.2016</a:t>
            </a:r>
            <a:endParaRPr lang="sr-Latn-RS" sz="1400" dirty="0" smtClean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  <a:defRPr/>
            </a:pPr>
            <a:r>
              <a:rPr lang="sr-Cyrl-RS" sz="1400" dirty="0"/>
              <a:t> </a:t>
            </a:r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pPr marL="0" indent="0">
              <a:buFontTx/>
              <a:buNone/>
              <a:defRPr/>
            </a:pPr>
            <a:endParaRPr lang="en-US" altLang="en-US" sz="12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</a:p>
        </p:txBody>
      </p:sp>
    </p:spTree>
    <p:extLst>
      <p:ext uri="{BB962C8B-B14F-4D97-AF65-F5344CB8AC3E}">
        <p14:creationId xmlns:p14="http://schemas.microsoft.com/office/powerpoint/2010/main" val="2562646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 preferRelativeResize="0"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14400"/>
            <a:ext cx="9144000" cy="59436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62001" y="2590806"/>
            <a:ext cx="77724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r-Latn-RS" sz="4800" dirty="0" smtClean="0">
                <a:latin typeface="Arial" panose="020B0604020202020204" pitchFamily="34" charset="0"/>
                <a:cs typeface="Arial" panose="020B0604020202020204" pitchFamily="34" charset="0"/>
              </a:rPr>
              <a:t>Multumesc pentru atentie</a:t>
            </a:r>
            <a:endParaRPr lang="en-US" sz="4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0"/>
            <a:ext cx="9144000" cy="9144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PROIECT PENTRU CONSTRUIREA </a:t>
            </a:r>
          </a:p>
          <a:p>
            <a:pPr algn="ctr"/>
            <a:r>
              <a:rPr lang="sr-Latn-RS" sz="2000" b="1" dirty="0">
                <a:latin typeface="Arial" panose="020B0604020202020204" pitchFamily="34" charset="0"/>
                <a:cs typeface="Arial" panose="020B0604020202020204" pitchFamily="34" charset="0"/>
              </a:rPr>
              <a:t>unui nou bloc CTE Kostolac cu puterea de 350 MW</a:t>
            </a:r>
          </a:p>
        </p:txBody>
      </p:sp>
    </p:spTree>
    <p:extLst>
      <p:ext uri="{BB962C8B-B14F-4D97-AF65-F5344CB8AC3E}">
        <p14:creationId xmlns:p14="http://schemas.microsoft.com/office/powerpoint/2010/main" val="2356729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90</TotalTime>
  <Words>546</Words>
  <Application>Microsoft Office PowerPoint</Application>
  <PresentationFormat>On-screen Show (4:3)</PresentationFormat>
  <Paragraphs>91</Paragraphs>
  <Slides>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0" baseType="lpstr">
      <vt:lpstr>1_EPS Design</vt:lpstr>
      <vt:lpstr>Custom Design</vt:lpstr>
      <vt:lpstr>think-cell Slide</vt:lpstr>
      <vt:lpstr>   „ A doua faza a pachetului de proiecte Kostolac B "- blocul nou Kostolac B3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рганизација радних група у оквиру Тима за имплементацију пројекта „Друга фаза пакет пројеката Костолац Б“</dc:title>
  <dc:creator>Samsung</dc:creator>
  <cp:lastModifiedBy>entel</cp:lastModifiedBy>
  <cp:revision>225</cp:revision>
  <cp:lastPrinted>2016-10-10T11:00:45Z</cp:lastPrinted>
  <dcterms:created xsi:type="dcterms:W3CDTF">2016-02-15T09:23:34Z</dcterms:created>
  <dcterms:modified xsi:type="dcterms:W3CDTF">2017-09-05T11:55:29Z</dcterms:modified>
</cp:coreProperties>
</file>